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146845419" r:id="rId5"/>
    <p:sldId id="2146845413" r:id="rId6"/>
    <p:sldId id="2146845416" r:id="rId7"/>
    <p:sldId id="2146845415" r:id="rId8"/>
    <p:sldId id="2146845418" r:id="rId9"/>
    <p:sldId id="2146845414" r:id="rId10"/>
    <p:sldId id="2146845400" r:id="rId11"/>
    <p:sldId id="2146845399" r:id="rId12"/>
    <p:sldId id="2146845420" r:id="rId13"/>
    <p:sldId id="2146845421" r:id="rId14"/>
    <p:sldId id="2146845422" r:id="rId15"/>
    <p:sldId id="214684541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B3D91-2085-4C80-8C54-03ACF2F645B4}" v="47" dt="2021-04-14T15:39:37.2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71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43099-E218-4C98-9781-5672A1760E82}" type="datetimeFigureOut">
              <a:rPr lang="en-GB" smtClean="0"/>
              <a:t>03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580142-291F-4AF6-891D-509A68B6DE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192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#1</a:t>
            </a:r>
          </a:p>
          <a:p>
            <a:r>
              <a:rPr lang="en-CA" dirty="0"/>
              <a:t>Mavericks lowest priority as they will already try new things on their own.</a:t>
            </a:r>
          </a:p>
          <a:p>
            <a:r>
              <a:rPr lang="en-CA" dirty="0"/>
              <a:t>Pragmatists are using JAKs so we need to demonstrate that there is still a need for a new/different </a:t>
            </a:r>
            <a:r>
              <a:rPr lang="en-CA" dirty="0" err="1"/>
              <a:t>JAKi</a:t>
            </a:r>
            <a:endParaRPr lang="en-CA" dirty="0"/>
          </a:p>
          <a:p>
            <a:endParaRPr lang="en-CA" dirty="0"/>
          </a:p>
          <a:p>
            <a:r>
              <a:rPr lang="en-CA" dirty="0"/>
              <a:t>#2</a:t>
            </a:r>
          </a:p>
          <a:p>
            <a:r>
              <a:rPr lang="en-CA" dirty="0"/>
              <a:t>Mavericks are most likely be early adopters and also share their experience so we want to ensure they have early positive experience</a:t>
            </a:r>
          </a:p>
          <a:p>
            <a:r>
              <a:rPr lang="en-CA" dirty="0"/>
              <a:t>Pragmatists tend to bend the rules to solve problems, focusing on safety provides a strong reason to believe</a:t>
            </a:r>
          </a:p>
          <a:p>
            <a:r>
              <a:rPr lang="en-CA" dirty="0"/>
              <a:t>Compassionates will want to hear from and be reassured by peers so important to get the other two comfortable first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third because they will try anyway and also form their own opinion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Compassionates last because they will wait to hear from M and P – so we need M and P on board and sharing their stories</a:t>
            </a: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A5F5EB-E4E0-4709-9BD7-A22EE9051C1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33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463477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635173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2743709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32148435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84057177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197033" cy="1009671"/>
          </a:xfrm>
          <a:prstGeom prst="rect">
            <a:avLst/>
          </a:prstGeom>
        </p:spPr>
      </p:pic>
      <p:sp>
        <p:nvSpPr>
          <p:cNvPr id="28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633042" y="134938"/>
            <a:ext cx="319246" cy="36195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801" b="1">
                <a:solidFill>
                  <a:schemeClr val="tx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1744829" y="1811612"/>
            <a:ext cx="3461275" cy="965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0888" tIns="30443" rIns="60888" bIns="30443" numCol="1" anchor="t" anchorCtr="0" compatLnSpc="1">
            <a:prstTxWarp prst="textNoShape">
              <a:avLst/>
            </a:prstTxWarp>
          </a:bodyPr>
          <a:lstStyle/>
          <a:p>
            <a:endParaRPr lang="en-US" sz="2398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89030" y="361961"/>
            <a:ext cx="11044012" cy="1310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12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789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752629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9685413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815360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61494429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410457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42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05049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423130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767674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37651589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19" imgH="520" progId="TCLayout.ActiveDocument.1">
                  <p:embed/>
                </p:oleObj>
              </mc:Choice>
              <mc:Fallback>
                <p:oleObj name="think-cell Slide" r:id="rId18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6D2B4-FB50-48FD-BF63-98D499C497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BD Adoption Ladder Templ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413840"/>
      </p:ext>
    </p:extLst>
  </p:cSld>
  <p:clrMapOvr>
    <a:masterClrMapping/>
  </p:clrMapOvr>
  <p:transition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: Uses JYSELECA  as their advanced treatment of choice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; I have candidates to trial JYSELECA first-line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QoL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dirty="0" err="1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from current limited 1</a:t>
            </a:r>
            <a:r>
              <a:rPr lang="en-US" sz="900" kern="0" baseline="300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line JAK inhibitor use to JYSELECA as their advanced treatment of choic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72844" y="2933143"/>
            <a:ext cx="10679429" cy="649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Use of steroid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Convenience as one driver for treatment choic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s with some therap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80391" y="3629929"/>
            <a:ext cx="1923188" cy="24261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cs typeface="Arial" charset="0"/>
              </a:rPr>
              <a:t>Identify &amp; trial JYSELECA to achieve rapid control &amp; symptom relief for a patient who is struggling with their symptoms &amp; burden of treat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k all patients (naïve/ exp) whether they would prefer an oral treatment providing rapid efficacy &amp; the safety profile that the patient nee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oose JYSELECA </a:t>
            </a:r>
            <a:b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as standard of care oral after first biologic failure as the most simple &amp; convenient solution for their pati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 dirty="0">
                <a:solidFill>
                  <a:srgbClr val="00463E"/>
                </a:solidFill>
                <a:latin typeface="+mj-lt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3862" y="5954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3652068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 dirty="0">
                <a:solidFill>
                  <a:srgbClr val="00463E"/>
                </a:solidFill>
              </a:rPr>
              <a:t>Focus on rapid symptom relief, </a:t>
            </a:r>
            <a:br>
              <a:rPr lang="en-GB" sz="800" dirty="0">
                <a:solidFill>
                  <a:srgbClr val="00463E"/>
                </a:solidFill>
              </a:rPr>
            </a:br>
            <a:r>
              <a:rPr lang="en-GB" sz="800" dirty="0">
                <a:solidFill>
                  <a:srgbClr val="00463E"/>
                </a:solidFill>
              </a:rPr>
              <a:t>sustained efficacy and </a:t>
            </a:r>
            <a:r>
              <a:rPr lang="en-GB" sz="800" dirty="0" err="1">
                <a:solidFill>
                  <a:srgbClr val="00463E"/>
                </a:solidFill>
              </a:rPr>
              <a:t>QoL</a:t>
            </a:r>
            <a:r>
              <a:rPr lang="en-GB" sz="800" dirty="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 dirty="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3653896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 dirty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3650199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 err="1">
                <a:solidFill>
                  <a:srgbClr val="00463E"/>
                </a:solidFill>
              </a:rPr>
              <a:t>Jyseleca</a:t>
            </a:r>
            <a:r>
              <a:rPr lang="en-US" sz="800" dirty="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3661496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dirty="0">
                <a:solidFill>
                  <a:srgbClr val="00463E"/>
                </a:solidFill>
              </a:rPr>
              <a:t>Identify potential advocates 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803357" y="84014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D6669CD-718A-4546-A19B-4E27A6BB17D8}"/>
              </a:ext>
            </a:extLst>
          </p:cNvPr>
          <p:cNvSpPr/>
          <p:nvPr/>
        </p:nvSpPr>
        <p:spPr bwMode="auto">
          <a:xfrm>
            <a:off x="1395968" y="6086523"/>
            <a:ext cx="1932115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6086523"/>
            <a:ext cx="192593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6086523"/>
            <a:ext cx="1879442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6086523"/>
            <a:ext cx="189178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4180AA2-2857-4E01-B4B1-F57930F6CCD7}"/>
              </a:ext>
            </a:extLst>
          </p:cNvPr>
          <p:cNvSpPr/>
          <p:nvPr/>
        </p:nvSpPr>
        <p:spPr bwMode="auto">
          <a:xfrm>
            <a:off x="10232796" y="6086523"/>
            <a:ext cx="1850151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8687238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,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art to use JYSELECA as first option after 1st biologic failure based on the positive feedback they have received from patients</a:t>
            </a:r>
            <a:endParaRPr lang="en-GB" sz="1100" kern="0" dirty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527268" y="115496"/>
            <a:ext cx="937289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5146EE-94BC-47A5-BA02-91C5512998CE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8E03C21-01E5-4530-A5F1-548AFB23357D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800167D-90A5-4545-835C-9AABEC85C0AF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C2F86C-BAE1-405C-A2E0-ADB8FCA96A3D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8F91DA-26F7-493F-86FA-55F6D67C4258}"/>
              </a:ext>
            </a:extLst>
          </p:cNvPr>
          <p:cNvSpPr/>
          <p:nvPr/>
        </p:nvSpPr>
        <p:spPr bwMode="auto">
          <a:xfrm>
            <a:off x="1360507" y="2078752"/>
            <a:ext cx="1932115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se a cautious step-up</a:t>
            </a:r>
          </a:p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pproach &amp; very rare use of JAK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0DD4D18-F611-4F82-91F3-E324EF9E2C37}"/>
              </a:ext>
            </a:extLst>
          </p:cNvPr>
          <p:cNvSpPr/>
          <p:nvPr/>
        </p:nvSpPr>
        <p:spPr bwMode="auto">
          <a:xfrm>
            <a:off x="1372844" y="2969089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tisfied with current therapie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Anti-TNFs effective &amp; saf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 about Jak Cla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78A705-D2BD-43BB-AB88-CB693A35DF87}"/>
              </a:ext>
            </a:extLst>
          </p:cNvPr>
          <p:cNvSpPr/>
          <p:nvPr/>
        </p:nvSpPr>
        <p:spPr bwMode="auto">
          <a:xfrm>
            <a:off x="1389777" y="3638218"/>
            <a:ext cx="2032814" cy="244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463E"/>
              </a:solidFill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Detailed in 2,3,4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36FD7-F6A4-423B-A455-D4AFA904C5DF}"/>
              </a:ext>
            </a:extLst>
          </p:cNvPr>
          <p:cNvSpPr/>
          <p:nvPr/>
        </p:nvSpPr>
        <p:spPr bwMode="auto">
          <a:xfrm>
            <a:off x="3573437" y="2078752"/>
            <a:ext cx="188561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en to discuss JYSELECA as a safe &amp; simple option in their treatment paradig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14D897-4E28-44DB-B2BC-651B5989D9C7}"/>
              </a:ext>
            </a:extLst>
          </p:cNvPr>
          <p:cNvSpPr/>
          <p:nvPr/>
        </p:nvSpPr>
        <p:spPr bwMode="auto">
          <a:xfrm>
            <a:off x="5781404" y="2094427"/>
            <a:ext cx="187944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al JYSELECA in a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line treatment based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 peer-feedback reassuring on the safety profile – develop a case study on this patien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3AC7511-D7E5-436F-A9AA-CA8EA8D5A0AE}"/>
              </a:ext>
            </a:extLst>
          </p:cNvPr>
          <p:cNvSpPr/>
          <p:nvPr/>
        </p:nvSpPr>
        <p:spPr bwMode="auto">
          <a:xfrm>
            <a:off x="7983201" y="2094427"/>
            <a:ext cx="1891780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and use of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YSELECA in 3rd line – tried and tested based on their own experien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F9B15A-B623-4166-9408-29CF24F92AB8}"/>
              </a:ext>
            </a:extLst>
          </p:cNvPr>
          <p:cNvSpPr/>
          <p:nvPr/>
        </p:nvSpPr>
        <p:spPr bwMode="auto">
          <a:xfrm>
            <a:off x="10197335" y="2078752"/>
            <a:ext cx="1850151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art to use JYSELECA as the first option after 1st biologic failure based on the positive feedback they have received from their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33862" y="608652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98283" y="3619766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Benefits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816173" y="3641914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dirty="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8008046" y="3638217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Convenience Messaging Objective: </a:t>
            </a:r>
            <a:r>
              <a:rPr lang="en-US" sz="800" dirty="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222180" y="3649514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CEFD19-A6CF-4CC3-AE26-C15DCA24EBEF}"/>
              </a:ext>
            </a:extLst>
          </p:cNvPr>
          <p:cNvSpPr/>
          <p:nvPr/>
        </p:nvSpPr>
        <p:spPr bwMode="auto">
          <a:xfrm>
            <a:off x="1489962" y="6182260"/>
            <a:ext cx="1932115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822332" y="618226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8024129" y="6182260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C01CC87-EF6F-4704-9BC9-8168F3BA514D}"/>
              </a:ext>
            </a:extLst>
          </p:cNvPr>
          <p:cNvSpPr/>
          <p:nvPr/>
        </p:nvSpPr>
        <p:spPr bwMode="auto">
          <a:xfrm>
            <a:off x="10238263" y="6182260"/>
            <a:ext cx="1850151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602526" y="619088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84552432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26DA361-D3D0-488A-AC45-386F4B524A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441960"/>
              </p:ext>
            </p:extLst>
          </p:nvPr>
        </p:nvGraphicFramePr>
        <p:xfrm>
          <a:off x="0" y="954812"/>
          <a:ext cx="12192000" cy="4319831"/>
        </p:xfrm>
        <a:graphic>
          <a:graphicData uri="http://schemas.openxmlformats.org/drawingml/2006/table">
            <a:tbl>
              <a:tblPr/>
              <a:tblGrid>
                <a:gridCol w="736938">
                  <a:extLst>
                    <a:ext uri="{9D8B030D-6E8A-4147-A177-3AD203B41FA5}">
                      <a16:colId xmlns:a16="http://schemas.microsoft.com/office/drawing/2014/main" val="1482399663"/>
                    </a:ext>
                  </a:extLst>
                </a:gridCol>
                <a:gridCol w="1094571">
                  <a:extLst>
                    <a:ext uri="{9D8B030D-6E8A-4147-A177-3AD203B41FA5}">
                      <a16:colId xmlns:a16="http://schemas.microsoft.com/office/drawing/2014/main" val="511594556"/>
                    </a:ext>
                  </a:extLst>
                </a:gridCol>
                <a:gridCol w="1062058">
                  <a:extLst>
                    <a:ext uri="{9D8B030D-6E8A-4147-A177-3AD203B41FA5}">
                      <a16:colId xmlns:a16="http://schemas.microsoft.com/office/drawing/2014/main" val="890448452"/>
                    </a:ext>
                  </a:extLst>
                </a:gridCol>
                <a:gridCol w="1365504">
                  <a:extLst>
                    <a:ext uri="{9D8B030D-6E8A-4147-A177-3AD203B41FA5}">
                      <a16:colId xmlns:a16="http://schemas.microsoft.com/office/drawing/2014/main" val="1988524465"/>
                    </a:ext>
                  </a:extLst>
                </a:gridCol>
                <a:gridCol w="1517227">
                  <a:extLst>
                    <a:ext uri="{9D8B030D-6E8A-4147-A177-3AD203B41FA5}">
                      <a16:colId xmlns:a16="http://schemas.microsoft.com/office/drawing/2014/main" val="45151366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346090405"/>
                    </a:ext>
                  </a:extLst>
                </a:gridCol>
                <a:gridCol w="1658112">
                  <a:extLst>
                    <a:ext uri="{9D8B030D-6E8A-4147-A177-3AD203B41FA5}">
                      <a16:colId xmlns:a16="http://schemas.microsoft.com/office/drawing/2014/main" val="69821660"/>
                    </a:ext>
                  </a:extLst>
                </a:gridCol>
                <a:gridCol w="1441366">
                  <a:extLst>
                    <a:ext uri="{9D8B030D-6E8A-4147-A177-3AD203B41FA5}">
                      <a16:colId xmlns:a16="http://schemas.microsoft.com/office/drawing/2014/main" val="1615909807"/>
                    </a:ext>
                  </a:extLst>
                </a:gridCol>
                <a:gridCol w="1690624">
                  <a:extLst>
                    <a:ext uri="{9D8B030D-6E8A-4147-A177-3AD203B41FA5}">
                      <a16:colId xmlns:a16="http://schemas.microsoft.com/office/drawing/2014/main" val="3064605023"/>
                    </a:ext>
                  </a:extLst>
                </a:gridCol>
              </a:tblGrid>
              <a:tr h="34584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1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2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3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4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ective 5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Type / Jyseleca Positioning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65922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JAKs for a limited number of patients and use steroids for quick symptom relief &amp; QoL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&amp; trial JYSELECA to achieve rapid control &amp; symptom relief for a patient who is struggling with their symptoms &amp; burden of treatment 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K ALL PATIEN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: Ask all patients (naïve/ exp) whether they would prefer an oral treatment (providing rapid efficacy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amp; the safety profile that the patient needs)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Choose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standard of care oral after first biologic failure as the most simple &amp; convenient solution for their patien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naïve / 1st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934401"/>
                  </a:ext>
                </a:extLst>
              </a:tr>
              <a:tr h="1364090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ience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s JAK inhibitors  n 2nd/3rd line in a flexible approach. Persists within the same tx clas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&amp; trial JYSELECA in a patient who would benefit from a new mode of action and reassured by the mucosal healing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amp; histologic remission achieved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Identify a wider pool of patients who are not adequately controlled &amp; use JYSELECA to achieve mucosal healing &amp; long-term result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Expand usage of JYSELECA as oral, that do not need steroid and provides the depth of sustained remission that they are looking for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naïve / 1st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566184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iarity Firs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a cautious step-up approach &amp; very rare use of JAK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 JYSELECA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Open to discuss JYSELECA as a safe &amp; simple option in their treatment paradigm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al JYSELECA in 3rd line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Trial JYSELECA in a 3rd line treatment based on peer-feedback reassuring on the safety profile – develop a case study on this patient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 and build confidence: </a:t>
                      </a: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 of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YSELECA in 3rd line – tried and tested based 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their own experience</a:t>
                      </a:r>
                      <a:endParaRPr lang="en-GB" sz="900" b="0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Start to use JYSELECA as the first option after </a:t>
                      </a:r>
                      <a:b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st biologic failure based on the positive feedback they have received from their patients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 - Experience - 1st Biologic Failure / 2nd Line</a:t>
                      </a:r>
                    </a:p>
                  </a:txBody>
                  <a:tcPr marL="4803" marR="4803" marT="48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077250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A9FA627-27E5-4111-B630-9B641D31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</p:spPr>
        <p:txBody>
          <a:bodyPr/>
          <a:lstStyle/>
          <a:p>
            <a:r>
              <a:rPr lang="en-US" sz="2800" dirty="0"/>
              <a:t>Adoption Ladder – summarized objectives by segment</a:t>
            </a:r>
            <a:endParaRPr lang="en-GB" sz="2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9A643D-A005-45C3-A8BD-9B359B5AAD9A}"/>
              </a:ext>
            </a:extLst>
          </p:cNvPr>
          <p:cNvSpPr txBox="1"/>
          <p:nvPr/>
        </p:nvSpPr>
        <p:spPr>
          <a:xfrm>
            <a:off x="3149600" y="5455920"/>
            <a:ext cx="8615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his table was created and provided by the client.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355950742"/>
      </p:ext>
    </p:extLst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n 2nd/3rd line in a flexible approach. Persists within the sam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139D42E-FCD2-4EF3-880A-36090C99B8E7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5997E58-21CD-4ADC-BACC-D6D83D4DA124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0BA1455-7BFB-40AA-8E96-722916EC16DB}"/>
              </a:ext>
            </a:extLst>
          </p:cNvPr>
          <p:cNvSpPr/>
          <p:nvPr/>
        </p:nvSpPr>
        <p:spPr bwMode="auto">
          <a:xfrm>
            <a:off x="1360507" y="2078752"/>
            <a:ext cx="1932115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from current 2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n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/3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r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JAK inhibitor use to JYSELECA 1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 line in bio-naive</a:t>
            </a:r>
            <a:endParaRPr kumimoji="0" lang="en-US" sz="900" b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F7EB311-D319-47D5-A364-550397D3306C}"/>
              </a:ext>
            </a:extLst>
          </p:cNvPr>
          <p:cNvSpPr/>
          <p:nvPr/>
        </p:nvSpPr>
        <p:spPr bwMode="auto">
          <a:xfrm>
            <a:off x="1372844" y="2933143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Good options now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New </a:t>
            </a:r>
            <a:r>
              <a:rPr lang="en-GB" sz="900" kern="0" dirty="0" err="1">
                <a:solidFill>
                  <a:srgbClr val="585858"/>
                </a:solidFill>
                <a:latin typeface="+mn-lt"/>
                <a:ea typeface="+mn-ea"/>
                <a:cs typeface="+mn-cs"/>
              </a:rPr>
              <a:t>MoAs</a:t>
            </a: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 are no more effectiv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585858"/>
                </a:solidFill>
                <a:latin typeface="+mn-lt"/>
                <a:ea typeface="+mn-ea"/>
                <a:cs typeface="+mn-cs"/>
              </a:rPr>
              <a:t>Convenience is not driving long term remission</a:t>
            </a:r>
            <a:endParaRPr lang="en-US" sz="900" kern="0" dirty="0">
              <a:solidFill>
                <a:srgbClr val="585858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8437FD3-0DB7-491D-9AB5-C42DEF333DC5}"/>
              </a:ext>
            </a:extLst>
          </p:cNvPr>
          <p:cNvSpPr/>
          <p:nvPr/>
        </p:nvSpPr>
        <p:spPr bwMode="auto">
          <a:xfrm>
            <a:off x="1380391" y="3582000"/>
            <a:ext cx="1923188" cy="2584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8676A62-1F80-4BAF-870F-21BBC988EBFC}"/>
              </a:ext>
            </a:extLst>
          </p:cNvPr>
          <p:cNvSpPr/>
          <p:nvPr/>
        </p:nvSpPr>
        <p:spPr bwMode="auto">
          <a:xfrm>
            <a:off x="3573437" y="2078752"/>
            <a:ext cx="188561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&amp; trial JYSELECA in a patient who would benefit from a new mode of action and reassured by the mucosal healing &amp; histologic remission achieved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1CAFB377-4EBF-492D-B2BE-27F993C425E0}"/>
              </a:ext>
            </a:extLst>
          </p:cNvPr>
          <p:cNvSpPr/>
          <p:nvPr/>
        </p:nvSpPr>
        <p:spPr bwMode="auto">
          <a:xfrm>
            <a:off x="5781404" y="2094427"/>
            <a:ext cx="1879442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</a:rPr>
              <a:t>Identify a wider pool of patients who are not adequately controlled &amp; use JYSELECA to achieve mucosal healing &amp; long-term resul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34199C7-E4C6-4A13-80BF-93AC44843603}"/>
              </a:ext>
            </a:extLst>
          </p:cNvPr>
          <p:cNvSpPr/>
          <p:nvPr/>
        </p:nvSpPr>
        <p:spPr bwMode="auto">
          <a:xfrm>
            <a:off x="7983201" y="2094427"/>
            <a:ext cx="1891780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Expand usage of JYSELECA as oral, that does not need steroid and provides the depth of sustained remission that they are looking for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+mj-lt"/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47D3155-9E31-49AC-8BA5-9113FB4A08B1}"/>
              </a:ext>
            </a:extLst>
          </p:cNvPr>
          <p:cNvSpPr/>
          <p:nvPr/>
        </p:nvSpPr>
        <p:spPr bwMode="auto">
          <a:xfrm>
            <a:off x="10197335" y="2078752"/>
            <a:ext cx="1850151" cy="8088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800" dirty="0">
                <a:solidFill>
                  <a:srgbClr val="00463E"/>
                </a:solidFill>
                <a:latin typeface="+mj-lt"/>
              </a:rPr>
            </a:br>
            <a:r>
              <a:rPr lang="en-US" sz="800" dirty="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33862" y="601463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3604139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3605968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3602270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3613567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aseline="0" dirty="0">
                <a:solidFill>
                  <a:srgbClr val="00463E"/>
                </a:solidFill>
              </a:rPr>
              <a:t>Identify</a:t>
            </a:r>
            <a:r>
              <a:rPr lang="en-GB" sz="800" dirty="0">
                <a:solidFill>
                  <a:srgbClr val="00463E"/>
                </a:solidFill>
              </a:rPr>
              <a:t> potential advocates and influencers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6180614"/>
            <a:ext cx="192593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6180614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6180614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Refer to Message Source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8608569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80292" y="513421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 1st line in bio-naïve: Uses JYSELECA  as their advanced treatment of choice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="1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Belief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: I am confident that JYSELECA is the right solution b/c of efficacy/safety and convenience; I have candidates to trial JYSELECA first-line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JAKs for a limited number of patients and use steroids for quick symptom relief &amp; QoL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op-down approach is optimal.</a:t>
            </a:r>
            <a:r>
              <a:rPr kumimoji="0" lang="en-GB" sz="800" i="0" u="none" strike="noStrike" kern="0" cap="none" spc="0" normalizeH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Patient preference is important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Excited about the JAK-STAT pathway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121652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96290" y="1216522"/>
            <a:ext cx="18376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k all 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3201" y="1216523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202296" y="1200434"/>
            <a:ext cx="18376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2078752"/>
            <a:ext cx="1932115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ange </a:t>
            </a:r>
            <a:r>
              <a:rPr lang="en-US" sz="900" kern="0" dirty="0" err="1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behaviour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from current limited 1</a:t>
            </a:r>
            <a:r>
              <a:rPr lang="en-US" sz="900" kern="0" baseline="300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st</a:t>
            </a:r>
            <a:r>
              <a:rPr lang="en-US" sz="900" kern="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 line JAK inhibitor use to JYSELECA as their advanced treatment of choic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72844" y="2933143"/>
            <a:ext cx="10679429" cy="6493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Use of steroid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Convenience as one driver for treatment choic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s with some therap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80391" y="3629929"/>
            <a:ext cx="1923188" cy="24261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tailed in steps 2,3,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2078752"/>
            <a:ext cx="188561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463E"/>
                </a:solidFill>
                <a:latin typeface="+mj-lt"/>
                <a:cs typeface="Arial" charset="0"/>
              </a:rPr>
              <a:t>Identify &amp; trial JYSELECA to achieve rapid control &amp; symptom relief for a patient who is struggling with their symptoms &amp; burden of treat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94427"/>
            <a:ext cx="1879442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k all patients (naïve/ exp) whether they would prefer an oral treatment providing rapid efficacy &amp; the safety profile that the patient need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94427"/>
            <a:ext cx="1891780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Choose JYSELECA </a:t>
            </a:r>
            <a:b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  <a:ea typeface="Arial" charset="0"/>
                <a:cs typeface="Arial" charset="0"/>
              </a:rPr>
              <a:t>as standard of care oral after first biologic failure as the most simple &amp; convenient solution for their patie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2078752"/>
            <a:ext cx="1850151" cy="8051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463E"/>
                </a:solidFill>
                <a:latin typeface="+mj-lt"/>
              </a:rPr>
              <a:t>Uses JYSELECA </a:t>
            </a:r>
            <a:br>
              <a:rPr lang="en-US" sz="900" dirty="0">
                <a:solidFill>
                  <a:srgbClr val="00463E"/>
                </a:solidFill>
                <a:latin typeface="+mj-lt"/>
              </a:rPr>
            </a:br>
            <a:r>
              <a:rPr lang="en-US" sz="900" dirty="0">
                <a:solidFill>
                  <a:srgbClr val="00463E"/>
                </a:solidFill>
                <a:latin typeface="+mj-lt"/>
              </a:rPr>
              <a:t>as their advanced treatment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3862" y="595472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98283" y="3652068"/>
            <a:ext cx="1885612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Efficacy Messaging Objective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GB" sz="800" dirty="0">
                <a:solidFill>
                  <a:srgbClr val="00463E"/>
                </a:solidFill>
              </a:rPr>
              <a:t>Focus on rapid symptom relief, </a:t>
            </a:r>
            <a:br>
              <a:rPr lang="en-GB" sz="800" dirty="0">
                <a:solidFill>
                  <a:srgbClr val="00463E"/>
                </a:solidFill>
              </a:rPr>
            </a:br>
            <a:r>
              <a:rPr lang="en-GB" sz="800" dirty="0">
                <a:solidFill>
                  <a:srgbClr val="00463E"/>
                </a:solidFill>
              </a:rPr>
              <a:t>sustained efficacy and </a:t>
            </a:r>
            <a:r>
              <a:rPr lang="en-GB" sz="800" dirty="0" err="1">
                <a:solidFill>
                  <a:srgbClr val="00463E"/>
                </a:solidFill>
              </a:rPr>
              <a:t>QoL</a:t>
            </a:r>
            <a:r>
              <a:rPr lang="en-GB" sz="800" dirty="0">
                <a:solidFill>
                  <a:srgbClr val="00463E"/>
                </a:solidFill>
              </a:rPr>
              <a:t> improvements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It’s time for JYSELECA, a 2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generation, once-daily, oral JAK inhibitor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Rapid reduction in the frequency of bloody diarrhea</a:t>
            </a:r>
            <a:r>
              <a:rPr lang="en-US" sz="800" dirty="0">
                <a:solidFill>
                  <a:srgbClr val="00463E"/>
                </a:solidFill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s early as week 2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ucosal healing with a significant reduction in rectal bleeding and stool frequency at week 10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could help patients return to their normal liv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816173" y="3653896"/>
            <a:ext cx="1837643" cy="23848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Convenience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 Objective: </a:t>
            </a:r>
            <a:r>
              <a:rPr lang="en-US" sz="800" kern="0" dirty="0">
                <a:solidFill>
                  <a:srgbClr val="00463E"/>
                </a:solidFill>
                <a:ea typeface="Arial" charset="0"/>
                <a:cs typeface="Arial" charset="0"/>
              </a:rPr>
              <a:t> Highlight simplicity for the patient that is above and beyond once-daily oral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ide effects/therapeutic drug monitoring &amp; parenteral/sub-cutaneous  administration are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actors contributing to the burden of UC treatment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for some patient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JYSELECA is a simple once-daily 200-mg oral tablet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Same dose for induction and maintenance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Minimal monitoring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No immunogenicity and TD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8008046" y="3650199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</a:rPr>
              <a:t>Address any potential safety concerns and be reassured of the simple choice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>
                <a:solidFill>
                  <a:srgbClr val="00463E"/>
                </a:solidFill>
              </a:rPr>
              <a:t>JYSELECA is a JAK1-preferential inhibitor with &gt;5x potency for JAK1 over other JAK isoform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pecial interest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Aes</a:t>
            </a:r>
            <a:endParaRPr lang="en-US" sz="800" dirty="0">
              <a:solidFill>
                <a:srgbClr val="00463E"/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 err="1">
                <a:solidFill>
                  <a:srgbClr val="00463E"/>
                </a:solidFill>
              </a:rPr>
              <a:t>Jyseleca</a:t>
            </a:r>
            <a:r>
              <a:rPr lang="en-US" sz="800" dirty="0">
                <a:solidFill>
                  <a:srgbClr val="00463E"/>
                </a:solidFill>
              </a:rPr>
              <a:t> is the simple solution for you and your patien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22180" y="3661496"/>
            <a:ext cx="1837643" cy="23882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advanced treatment of choice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dirty="0">
                <a:solidFill>
                  <a:srgbClr val="00463E"/>
                </a:solidFill>
              </a:rPr>
              <a:t>Identify potential advocates and influencers.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4664F985-2EFB-412B-B229-307E67E5E1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2908" y="19923"/>
            <a:ext cx="530917" cy="51206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B7E13DA-9A21-465A-A7CB-C45335B5EA8D}"/>
              </a:ext>
            </a:extLst>
          </p:cNvPr>
          <p:cNvSpPr/>
          <p:nvPr/>
        </p:nvSpPr>
        <p:spPr>
          <a:xfrm>
            <a:off x="10803357" y="84014"/>
            <a:ext cx="635520" cy="38783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C00000"/>
                </a:solidFill>
                <a:latin typeface="Arial" panose="020B0604020202020204"/>
              </a:rPr>
              <a:t>PATIENT FIRS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D6669CD-718A-4546-A19B-4E27A6BB17D8}"/>
              </a:ext>
            </a:extLst>
          </p:cNvPr>
          <p:cNvSpPr/>
          <p:nvPr/>
        </p:nvSpPr>
        <p:spPr bwMode="auto">
          <a:xfrm>
            <a:off x="1395968" y="6086523"/>
            <a:ext cx="1932115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DA4A6BD-1AF1-4E75-AF45-55512A364A3C}"/>
              </a:ext>
            </a:extLst>
          </p:cNvPr>
          <p:cNvSpPr/>
          <p:nvPr/>
        </p:nvSpPr>
        <p:spPr bwMode="auto">
          <a:xfrm>
            <a:off x="3608898" y="6086523"/>
            <a:ext cx="192593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149F32E-2904-45EB-8937-88D3449253C8}"/>
              </a:ext>
            </a:extLst>
          </p:cNvPr>
          <p:cNvSpPr/>
          <p:nvPr/>
        </p:nvSpPr>
        <p:spPr bwMode="auto">
          <a:xfrm>
            <a:off x="5816865" y="6086523"/>
            <a:ext cx="1879442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5EC63B4-C1A1-4494-95C5-E7BAA0FF3628}"/>
              </a:ext>
            </a:extLst>
          </p:cNvPr>
          <p:cNvSpPr/>
          <p:nvPr/>
        </p:nvSpPr>
        <p:spPr bwMode="auto">
          <a:xfrm>
            <a:off x="8018662" y="6086523"/>
            <a:ext cx="1891780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4180AA2-2857-4E01-B4B1-F57930F6CCD7}"/>
              </a:ext>
            </a:extLst>
          </p:cNvPr>
          <p:cNvSpPr/>
          <p:nvPr/>
        </p:nvSpPr>
        <p:spPr bwMode="auto">
          <a:xfrm>
            <a:off x="10232796" y="6086523"/>
            <a:ext cx="1850151" cy="2877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Refer to Asset </a:t>
            </a:r>
            <a:r>
              <a:rPr lang="en-GB" sz="900" dirty="0">
                <a:solidFill>
                  <a:srgbClr val="00463E"/>
                </a:solidFill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2802154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 2</a:t>
            </a:r>
            <a:r>
              <a:rPr kumimoji="0" lang="en-US" sz="80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nd</a:t>
            </a: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,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art to use JYSELECA as first option after 1st biologic failure based on the positive feedback they have received from patients</a:t>
            </a:r>
            <a:endParaRPr lang="en-GB" sz="1100" kern="0" dirty="0">
              <a:solidFill>
                <a:srgbClr val="717471">
                  <a:lumMod val="75000"/>
                </a:srgbClr>
              </a:solidFill>
              <a:latin typeface="Tahoma"/>
              <a:cs typeface="Arial" panose="020B0604020202020204" pitchFamily="34" charset="0"/>
            </a:endParaRP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Experts are recommending 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MoAs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JYSELECA is a simple &amp; safe new option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nsidering after 1st biologic failur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 a cautious step-up approach &amp; very rare use of JAK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latin typeface="Tahoma"/>
              <a:ea typeface="Helvetica Neue Light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autious step-up approach gives confidence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Current therapies work for most patients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New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MoAs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are worth considering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9" name="Google Shape;1324;p4" descr="Icon&#10;&#10;Description automatically generated">
            <a:extLst>
              <a:ext uri="{FF2B5EF4-FFF2-40B4-BE49-F238E27FC236}">
                <a16:creationId xmlns:a16="http://schemas.microsoft.com/office/drawing/2014/main" id="{FDBE9CA4-B8B2-4DE0-947C-321DE67E4291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2030" y="42156"/>
            <a:ext cx="530917" cy="512064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D57C8A7-6ACB-43C3-99B8-3CCC0E468F66}"/>
              </a:ext>
            </a:extLst>
          </p:cNvPr>
          <p:cNvSpPr/>
          <p:nvPr/>
        </p:nvSpPr>
        <p:spPr>
          <a:xfrm>
            <a:off x="10527268" y="115496"/>
            <a:ext cx="937289" cy="347333"/>
          </a:xfrm>
          <a:prstGeom prst="rect">
            <a:avLst/>
          </a:prstGeom>
          <a:solidFill>
            <a:schemeClr val="bg1"/>
          </a:solidFill>
          <a:ln w="28575">
            <a:solidFill>
              <a:srgbClr val="66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 dirty="0">
                <a:solidFill>
                  <a:srgbClr val="66CCFF"/>
                </a:solidFill>
                <a:latin typeface="Arial" panose="020B0604020202020204"/>
              </a:rPr>
              <a:t>FAMILIARITY FIRST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F5146EE-94BC-47A5-BA02-91C5512998CE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1852FEB-737B-46E6-A293-77016C834906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8E03C21-01E5-4530-A5F1-548AFB23357D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5800167D-90A5-4545-835C-9AABEC85C0AF}"/>
              </a:ext>
            </a:extLst>
          </p:cNvPr>
          <p:cNvSpPr txBox="1"/>
          <p:nvPr/>
        </p:nvSpPr>
        <p:spPr>
          <a:xfrm>
            <a:off x="34083" y="2327515"/>
            <a:ext cx="1289849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AC2F86C-BAE1-405C-A2E0-ADB8FCA96A3D}"/>
              </a:ext>
            </a:extLst>
          </p:cNvPr>
          <p:cNvSpPr txBox="1"/>
          <p:nvPr/>
        </p:nvSpPr>
        <p:spPr>
          <a:xfrm>
            <a:off x="58870" y="3116168"/>
            <a:ext cx="1289849" cy="376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75BC5C6-AA8C-4D8F-9FA0-037DD71E7FA1}"/>
              </a:ext>
            </a:extLst>
          </p:cNvPr>
          <p:cNvSpPr txBox="1"/>
          <p:nvPr/>
        </p:nvSpPr>
        <p:spPr>
          <a:xfrm>
            <a:off x="258410" y="4052740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B8F91DA-26F7-493F-86FA-55F6D67C4258}"/>
              </a:ext>
            </a:extLst>
          </p:cNvPr>
          <p:cNvSpPr/>
          <p:nvPr/>
        </p:nvSpPr>
        <p:spPr bwMode="auto">
          <a:xfrm>
            <a:off x="1360507" y="2078752"/>
            <a:ext cx="1932115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se a cautious step-up</a:t>
            </a:r>
          </a:p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pproach &amp; very rare use of JAK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0DD4D18-F611-4F82-91F3-E324EF9E2C37}"/>
              </a:ext>
            </a:extLst>
          </p:cNvPr>
          <p:cNvSpPr/>
          <p:nvPr/>
        </p:nvSpPr>
        <p:spPr bwMode="auto">
          <a:xfrm>
            <a:off x="1372844" y="2969089"/>
            <a:ext cx="10679429" cy="61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tisfied with current therapies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Anti-TNFs effective &amp; safe</a:t>
            </a:r>
          </a:p>
          <a:p>
            <a:pPr marL="0" marR="0" lvl="0" indent="0" algn="ctr" defTabSz="914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0" dirty="0">
                <a:solidFill>
                  <a:srgbClr val="00463E"/>
                </a:solidFill>
                <a:latin typeface="+mn-lt"/>
                <a:ea typeface="+mn-ea"/>
                <a:cs typeface="+mn-cs"/>
              </a:rPr>
              <a:t>Safety concern about Jak Clas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78A705-D2BD-43BB-AB88-CB693A35DF87}"/>
              </a:ext>
            </a:extLst>
          </p:cNvPr>
          <p:cNvSpPr/>
          <p:nvPr/>
        </p:nvSpPr>
        <p:spPr bwMode="auto">
          <a:xfrm>
            <a:off x="1389777" y="3638218"/>
            <a:ext cx="2032814" cy="244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463E"/>
              </a:solidFill>
              <a:ea typeface="Arial" charset="0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Detailed in 2,3,4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636FD7-F6A4-423B-A455-D4AFA904C5DF}"/>
              </a:ext>
            </a:extLst>
          </p:cNvPr>
          <p:cNvSpPr/>
          <p:nvPr/>
        </p:nvSpPr>
        <p:spPr bwMode="auto">
          <a:xfrm>
            <a:off x="3573437" y="2078752"/>
            <a:ext cx="188561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en to discuss JYSELECA as a safe &amp; simple option in their treatment paradig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14D897-4E28-44DB-B2BC-651B5989D9C7}"/>
              </a:ext>
            </a:extLst>
          </p:cNvPr>
          <p:cNvSpPr/>
          <p:nvPr/>
        </p:nvSpPr>
        <p:spPr bwMode="auto">
          <a:xfrm>
            <a:off x="5781404" y="2094427"/>
            <a:ext cx="1879442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rial JYSELECA in a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900" kern="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line treatment based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 peer-feedback reassuring on the safety profile – develop a case study on this patien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3AC7511-D7E5-436F-A9AA-CA8EA8D5A0AE}"/>
              </a:ext>
            </a:extLst>
          </p:cNvPr>
          <p:cNvSpPr/>
          <p:nvPr/>
        </p:nvSpPr>
        <p:spPr bwMode="auto">
          <a:xfrm>
            <a:off x="7983201" y="2094427"/>
            <a:ext cx="1891780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360000"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pand use of </a:t>
            </a:r>
            <a:b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JYSELECA in 3rd line – tried and tested based on their own experienc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F9B15A-B623-4166-9408-29CF24F92AB8}"/>
              </a:ext>
            </a:extLst>
          </p:cNvPr>
          <p:cNvSpPr/>
          <p:nvPr/>
        </p:nvSpPr>
        <p:spPr bwMode="auto">
          <a:xfrm>
            <a:off x="10197335" y="2078752"/>
            <a:ext cx="1850151" cy="8447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" charset="0"/>
                <a:cs typeface="Arial" charset="0"/>
              </a:rPr>
              <a:t>Start to use JYSELECA as the first option after 1st biologic failure based on the positive feedback they have received from their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1162D3-533B-409C-B713-8CD42C732D83}"/>
              </a:ext>
            </a:extLst>
          </p:cNvPr>
          <p:cNvSpPr txBox="1"/>
          <p:nvPr/>
        </p:nvSpPr>
        <p:spPr>
          <a:xfrm>
            <a:off x="33862" y="608652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FB272E2-0AAD-4FF8-B482-066F2A60EF14}"/>
              </a:ext>
            </a:extLst>
          </p:cNvPr>
          <p:cNvSpPr/>
          <p:nvPr/>
        </p:nvSpPr>
        <p:spPr bwMode="auto">
          <a:xfrm>
            <a:off x="3598283" y="3619766"/>
            <a:ext cx="1885612" cy="25388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</a:rPr>
              <a:t>Benefits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Focus on sustained remission and safety in bio-experienc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463E"/>
                </a:solidFill>
                <a:ea typeface="Arial" charset="0"/>
                <a:cs typeface="Arial" charset="0"/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Experts are recommending rapid introduction of advanced therapies to improve patient outcomes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n moderate-to-severe UC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ignificant clinical remission at week 58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irst therapy to meet ≥6-month CS-free clinical remission endpoint in a pivotal study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Favourable safety and tolerability profile in 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onsistent safety profile across 7 studies in RA patients with over 5400 patient years of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clinical exposur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0097F0-3492-4E56-932F-1C32E7026B48}"/>
              </a:ext>
            </a:extLst>
          </p:cNvPr>
          <p:cNvSpPr/>
          <p:nvPr/>
        </p:nvSpPr>
        <p:spPr bwMode="auto">
          <a:xfrm>
            <a:off x="5816173" y="3641914"/>
            <a:ext cx="1837643" cy="24327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Safety Messaging Objective: </a:t>
            </a: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Address potential safety concerns by </a:t>
            </a:r>
            <a:b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US" sz="800" dirty="0">
                <a:solidFill>
                  <a:srgbClr val="00463E"/>
                </a:solidFill>
                <a:ea typeface="Arial" charset="0"/>
                <a:cs typeface="Arial" charset="0"/>
              </a:rPr>
              <a:t>leveraging preferential MOA</a:t>
            </a:r>
          </a:p>
          <a:p>
            <a:pPr lvl="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463E"/>
                </a:solidFill>
              </a:rPr>
              <a:t>Detailed Messaging: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It’s time to consider JYSELECA, a 2nd generation, once-daily, oral JAK inhibitor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Demonstrated safety and tolerability profile in </a:t>
            </a:r>
            <a:b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</a:b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UC studi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pecial interest AEs 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Low rates of serious AEs similar to placebo &amp; </a:t>
            </a:r>
            <a:r>
              <a:rPr lang="en-GB" sz="800" dirty="0" err="1">
                <a:solidFill>
                  <a:srgbClr val="00463E"/>
                </a:solidFill>
                <a:ea typeface="Arial" charset="0"/>
                <a:cs typeface="Arial" charset="0"/>
              </a:rPr>
              <a:t>llow</a:t>
            </a: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 discontinuation rates (&lt;5%)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demonstrated significant mucosal healing at week 58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2A414A-F1B2-4BED-ACA4-27475B2AF10B}"/>
              </a:ext>
            </a:extLst>
          </p:cNvPr>
          <p:cNvSpPr/>
          <p:nvPr/>
        </p:nvSpPr>
        <p:spPr bwMode="auto">
          <a:xfrm>
            <a:off x="8008046" y="3638217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463E"/>
                </a:solidFill>
              </a:rPr>
              <a:t>Convenience Messaging Objective: </a:t>
            </a:r>
            <a:r>
              <a:rPr lang="en-US" sz="800" dirty="0">
                <a:solidFill>
                  <a:srgbClr val="00463E"/>
                </a:solidFill>
              </a:rPr>
              <a:t>Highlight simplicity for the patient and no immunogenicity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463E"/>
                </a:solidFill>
                <a:cs typeface="Arial" charset="0"/>
              </a:rPr>
              <a:t>Detailed Messaging</a:t>
            </a:r>
            <a:endParaRPr lang="en-US" sz="800" b="1" dirty="0">
              <a:solidFill>
                <a:srgbClr val="00463E"/>
              </a:solidFill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is a simple once-daily 200-mg oral tablet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No immunogenicity and TDM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Same dose for induction and maintenanc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Minimal monitoring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463E"/>
                </a:solidFill>
                <a:ea typeface="Arial" charset="0"/>
                <a:cs typeface="Arial" charset="0"/>
              </a:rPr>
              <a:t>JYSELECA could help patients return to their normal liv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AB6C0E3-B9C8-4ABB-A4A6-4742201D508C}"/>
              </a:ext>
            </a:extLst>
          </p:cNvPr>
          <p:cNvSpPr/>
          <p:nvPr/>
        </p:nvSpPr>
        <p:spPr bwMode="auto">
          <a:xfrm>
            <a:off x="10222180" y="3649514"/>
            <a:ext cx="1837643" cy="24362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>
                <a:solidFill>
                  <a:srgbClr val="00463E"/>
                </a:solidFill>
              </a:rPr>
              <a:t>Affirm positive experiences </a:t>
            </a:r>
            <a:r>
              <a:rPr lang="en-GB" sz="800" dirty="0">
                <a:solidFill>
                  <a:srgbClr val="00463E"/>
                </a:solidFill>
              </a:rPr>
              <a:t>with JYSELECA and support use as 2L advanced treatment of choic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CEFD19-A6CF-4CC3-AE26-C15DCA24EBEF}"/>
              </a:ext>
            </a:extLst>
          </p:cNvPr>
          <p:cNvSpPr/>
          <p:nvPr/>
        </p:nvSpPr>
        <p:spPr bwMode="auto">
          <a:xfrm>
            <a:off x="1489962" y="6182260"/>
            <a:ext cx="1932115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5822332" y="618226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E7F0E7-F721-4525-AC9A-B5ED3E700809}"/>
              </a:ext>
            </a:extLst>
          </p:cNvPr>
          <p:cNvSpPr/>
          <p:nvPr/>
        </p:nvSpPr>
        <p:spPr bwMode="auto">
          <a:xfrm>
            <a:off x="8024129" y="6182260"/>
            <a:ext cx="1891780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C01CC87-EF6F-4704-9BC9-8168F3BA514D}"/>
              </a:ext>
            </a:extLst>
          </p:cNvPr>
          <p:cNvSpPr/>
          <p:nvPr/>
        </p:nvSpPr>
        <p:spPr bwMode="auto">
          <a:xfrm>
            <a:off x="10238263" y="6182260"/>
            <a:ext cx="1850151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65B33BD-A1B2-44B2-B0B7-70B9E18555F7}"/>
              </a:ext>
            </a:extLst>
          </p:cNvPr>
          <p:cNvSpPr txBox="1"/>
          <p:nvPr/>
        </p:nvSpPr>
        <p:spPr>
          <a:xfrm>
            <a:off x="3589329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scuss JYSELEC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3464383-DE0D-4604-8FC4-E7B662FD3414}"/>
              </a:ext>
            </a:extLst>
          </p:cNvPr>
          <p:cNvSpPr txBox="1"/>
          <p:nvPr/>
        </p:nvSpPr>
        <p:spPr>
          <a:xfrm>
            <a:off x="5789922" y="1216522"/>
            <a:ext cx="188500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ial JYSELECA in 3</a:t>
            </a:r>
            <a:r>
              <a:rPr kumimoji="0" lang="en-GB" sz="105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d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C57A4A-1B8B-41C1-BEEE-EEDF708D03A4}"/>
              </a:ext>
            </a:extLst>
          </p:cNvPr>
          <p:cNvSpPr txBox="1"/>
          <p:nvPr/>
        </p:nvSpPr>
        <p:spPr>
          <a:xfrm>
            <a:off x="7963906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C582EF0-55EE-4AD4-9BFC-0EADA7CAC192}"/>
              </a:ext>
            </a:extLst>
          </p:cNvPr>
          <p:cNvSpPr txBox="1"/>
          <p:nvPr/>
        </p:nvSpPr>
        <p:spPr>
          <a:xfrm>
            <a:off x="10204492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3"/>
            <a:ext cx="18550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463E"/>
                </a:solidFill>
                <a:latin typeface="Tahoma"/>
              </a:rPr>
              <a:t>Curren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DC399D-A938-46B2-99FC-9A93E5695A49}"/>
              </a:ext>
            </a:extLst>
          </p:cNvPr>
          <p:cNvSpPr/>
          <p:nvPr/>
        </p:nvSpPr>
        <p:spPr bwMode="auto">
          <a:xfrm>
            <a:off x="3602526" y="6190880"/>
            <a:ext cx="1879442" cy="2609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Refer to Asset </a:t>
            </a:r>
            <a:r>
              <a:rPr lang="en-GB" sz="900" dirty="0">
                <a:solidFill>
                  <a:srgbClr val="000000"/>
                </a:solidFill>
                <a:latin typeface="Tahoma"/>
              </a:rPr>
              <a:t>Overview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</a:rPr>
              <a:t> Sl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422065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155A6-5BBF-4778-8054-78F21C398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t Overview by Segment</a:t>
            </a:r>
            <a:endParaRPr lang="en-GB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6B853A0-1C8E-4372-9D58-7E369A146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078187"/>
              </p:ext>
            </p:extLst>
          </p:nvPr>
        </p:nvGraphicFramePr>
        <p:xfrm>
          <a:off x="597299" y="909143"/>
          <a:ext cx="10501376" cy="5164107"/>
        </p:xfrm>
        <a:graphic>
          <a:graphicData uri="http://schemas.openxmlformats.org/drawingml/2006/table">
            <a:tbl>
              <a:tblPr/>
              <a:tblGrid>
                <a:gridCol w="736938">
                  <a:extLst>
                    <a:ext uri="{9D8B030D-6E8A-4147-A177-3AD203B41FA5}">
                      <a16:colId xmlns:a16="http://schemas.microsoft.com/office/drawing/2014/main" val="1482399663"/>
                    </a:ext>
                  </a:extLst>
                </a:gridCol>
                <a:gridCol w="626643">
                  <a:extLst>
                    <a:ext uri="{9D8B030D-6E8A-4147-A177-3AD203B41FA5}">
                      <a16:colId xmlns:a16="http://schemas.microsoft.com/office/drawing/2014/main" val="511594556"/>
                    </a:ext>
                  </a:extLst>
                </a:gridCol>
                <a:gridCol w="1529986">
                  <a:extLst>
                    <a:ext uri="{9D8B030D-6E8A-4147-A177-3AD203B41FA5}">
                      <a16:colId xmlns:a16="http://schemas.microsoft.com/office/drawing/2014/main" val="890448452"/>
                    </a:ext>
                  </a:extLst>
                </a:gridCol>
                <a:gridCol w="1843134">
                  <a:extLst>
                    <a:ext uri="{9D8B030D-6E8A-4147-A177-3AD203B41FA5}">
                      <a16:colId xmlns:a16="http://schemas.microsoft.com/office/drawing/2014/main" val="1988524465"/>
                    </a:ext>
                  </a:extLst>
                </a:gridCol>
                <a:gridCol w="1717040">
                  <a:extLst>
                    <a:ext uri="{9D8B030D-6E8A-4147-A177-3AD203B41FA5}">
                      <a16:colId xmlns:a16="http://schemas.microsoft.com/office/drawing/2014/main" val="451513667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3346090405"/>
                    </a:ext>
                  </a:extLst>
                </a:gridCol>
                <a:gridCol w="1452880">
                  <a:extLst>
                    <a:ext uri="{9D8B030D-6E8A-4147-A177-3AD203B41FA5}">
                      <a16:colId xmlns:a16="http://schemas.microsoft.com/office/drawing/2014/main" val="69821660"/>
                    </a:ext>
                  </a:extLst>
                </a:gridCol>
                <a:gridCol w="1019955">
                  <a:extLst>
                    <a:ext uri="{9D8B030D-6E8A-4147-A177-3AD203B41FA5}">
                      <a16:colId xmlns:a16="http://schemas.microsoft.com/office/drawing/2014/main" val="1615909807"/>
                    </a:ext>
                  </a:extLst>
                </a:gridCol>
              </a:tblGrid>
              <a:tr h="345843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 JYSELECA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 JYSELECA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AND USE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K ALL PATIENTS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</a:t>
                      </a:r>
                      <a:r>
                        <a:rPr lang="en-GB" sz="9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D</a:t>
                      </a:r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INE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</a:t>
                      </a:r>
                    </a:p>
                  </a:txBody>
                  <a:tcPr marL="4803" marR="4803" marT="48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65922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JAKs for a limited number of patients and use steroids for quick symptom relief &amp; QoL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mail - rep-triggered –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–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JYSELECA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HCP incl.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AQ Podcasts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-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apid symptom relief, QoL over time, CS-free remission,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tc.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patient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-series 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– rep-triggered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– patient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b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ochure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p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atient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-series 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 -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leave behind 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mail – rep-triggered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– Patient 1</a:t>
                      </a:r>
                      <a:r>
                        <a:rPr kumimoji="0" lang="en-US" sz="7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  <a:endParaRPr kumimoji="0" lang="en-US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-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Patient 1</a:t>
                      </a:r>
                      <a:r>
                        <a:rPr lang="en-US" sz="700" kern="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/video – JYSELECA HCP incl. MOA video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Web – RMM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 - integrated safety profile (TBC) 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PDF</a:t>
                      </a:r>
                      <a:r>
                        <a:rPr kumimoji="0" lang="en-US" sz="700" b="0" i="0" u="none" strike="noStrike" kern="0" cap="none" spc="0" normalizeH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- </a:t>
                      </a:r>
                      <a:r>
                        <a:rPr lang="en-US" sz="700" kern="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r</a:t>
                      </a:r>
                      <a:r>
                        <a:rPr kumimoji="0" lang="en-US" sz="7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eal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7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934401"/>
                  </a:ext>
                </a:extLst>
              </a:tr>
              <a:tr h="1394898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ience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s JAK inhibitors  n 2nd/3rd line in a flexible approach. Persists within the same tx class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alt efficacy page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Video - KOL SELECTION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 - Histological Remission, Endoscopic Remission, CS-free remission(TBC)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o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and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Leave Behind: Safety and MOA</a:t>
                      </a:r>
                      <a:endParaRPr lang="en-US" sz="700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Video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oA</a:t>
                      </a:r>
                      <a:endParaRPr lang="en-US" sz="700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: integrated safety profile (TBC) 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- convenienc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: Convenience &amp;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Patient brochur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banner ad and email –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Science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-series (TBC);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7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1st line in bio-naïve</a:t>
                      </a: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Uses JYSELECA </a:t>
                      </a:r>
                      <a:b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their advanced treatment of choice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566184"/>
                  </a:ext>
                </a:extLst>
              </a:tr>
              <a:tr h="1304949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iarity First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a cautious step-up approach &amp; very rare use of JAKs</a:t>
                      </a: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– unmet needs and benefit summar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2F – Leave behind – JYSELECA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mail - RTE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1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– safety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Leave behind – JYSELECA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Email – RTE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2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-series (TBC): Real life patient cases</a:t>
                      </a:r>
                    </a:p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-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cDA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– safety benefits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Leave behind – JYSELECA convenience &amp; safety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2F – Patient brochure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Email – RTE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email and banner ad –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3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Media – Journal ad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Web – JYSELECA HCP incl. Familiarity 1</a:t>
                      </a:r>
                      <a:r>
                        <a:rPr lang="en-US" sz="700" baseline="300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st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 self-led DA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a typeface="Arial" charset="0"/>
                          <a:cs typeface="Arial" charset="0"/>
                        </a:rPr>
                        <a:t>FAQ Podcasts: Histological Remission, Endoscopic Remission, CS-free remission(TBC)</a:t>
                      </a:r>
                    </a:p>
                    <a:p>
                      <a:pPr marL="171450" indent="-171450" defTabSz="36000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50F3C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Other: Patient </a:t>
                      </a:r>
                      <a:r>
                        <a:rPr lang="en-US" sz="700" dirty="0" err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docu</a:t>
                      </a:r>
                      <a:r>
                        <a:rPr lang="en-US" sz="700" dirty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-series (TBC): Real life patient cases</a:t>
                      </a:r>
                    </a:p>
                    <a:p>
                      <a:pPr algn="l" fontAlgn="t"/>
                      <a:endParaRPr lang="en-GB" sz="700" b="0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D: </a:t>
                      </a:r>
                      <a:r>
                        <a:rPr lang="en-GB" sz="8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 2nd Line (1st choice in bio-failure)</a:t>
                      </a: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</a:t>
                      </a: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3" marR="4803" marT="480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077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6279191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094F18B-6F8D-430D-9089-26882B60B8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RA Examp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903561"/>
      </p:ext>
    </p:extLst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lacency/habit/inerti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w MOA Required for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-HCP Connec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-19 </a:t>
            </a:r>
            <a:r>
              <a:rPr kumimoji="0" lang="en-GB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ext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– access to ca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ly competitive environment with comparisons between treatments hard to make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as proof of concept (and to share with peers)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Reflects on early JYSELECA experience &amp; positive efficacy outcomes compared with other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peer-to peer discussion with local colleagues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discussion with local expert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wareness &amp; Acce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ccess to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access to samp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experience with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familiarity with Galapagos and new relationship with re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ifferenti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erceived lack of differentiation from RINVO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es no difference in clinic relative to RINVOQ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Safety Hal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idual JAK concerns from 1</a:t>
            </a:r>
            <a:r>
              <a:rPr kumimoji="0" lang="en-GB" sz="7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gener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linical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as a negative experience in a patient in first few patie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ifferentiate JYSELECA versus other JAKs, especially RINVOQ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as their ‘go to’ JA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is the main concer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&amp; simplicity are importa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their current JAK and no reason to chan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a Variety of Produc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to have a wide armamentarium, rather than a go-t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ke to keep options open as new entries emer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Around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certainty around available JYSELELCA support services for HCPs and patien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etitive messaging and share of v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create an environment that facilitates exchange of positive experien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hares positive experiences with colleagu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Gains depth of experience in patients where safety is a concer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experiences that temper their enthusiasm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identify, support, and create a platform for JYSELECA advoca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dvocates JYSELECA as JAK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Expands the use of JYSELECA to different types of patients so ultimately JYSELECA becomes JAK of choi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tarts to use JYSELECA as first line JAK inhib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 not have a JAK of choice and philosophically opposed to aligning with one produc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38DA2F1-F038-4ACA-9D9F-78930637013E}"/>
              </a:ext>
            </a:extLst>
          </p:cNvPr>
          <p:cNvSpPr/>
          <p:nvPr/>
        </p:nvSpPr>
        <p:spPr bwMode="auto">
          <a:xfrm>
            <a:off x="1102744" y="323932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8946BA-BFB6-4216-BF5F-2BF55FDE300F}"/>
              </a:ext>
            </a:extLst>
          </p:cNvPr>
          <p:cNvSpPr/>
          <p:nvPr/>
        </p:nvSpPr>
        <p:spPr bwMode="auto">
          <a:xfrm>
            <a:off x="1102744" y="369086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69D242C-13E7-45D6-B668-9C73312B4327}"/>
              </a:ext>
            </a:extLst>
          </p:cNvPr>
          <p:cNvSpPr/>
          <p:nvPr/>
        </p:nvSpPr>
        <p:spPr bwMode="auto">
          <a:xfrm>
            <a:off x="1102744" y="2828147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3CCC23-DAA1-4773-9D22-82DE5B280D2A}"/>
              </a:ext>
            </a:extLst>
          </p:cNvPr>
          <p:cNvSpPr/>
          <p:nvPr/>
        </p:nvSpPr>
        <p:spPr bwMode="auto">
          <a:xfrm>
            <a:off x="10031988" y="3107592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B979413-D175-4221-8AC5-17AF72C3CE51}"/>
              </a:ext>
            </a:extLst>
          </p:cNvPr>
          <p:cNvSpPr/>
          <p:nvPr/>
        </p:nvSpPr>
        <p:spPr bwMode="auto">
          <a:xfrm>
            <a:off x="3399532" y="272591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21A083D-A507-492E-8D58-42C0FF1AE629}"/>
              </a:ext>
            </a:extLst>
          </p:cNvPr>
          <p:cNvSpPr/>
          <p:nvPr/>
        </p:nvSpPr>
        <p:spPr bwMode="auto">
          <a:xfrm>
            <a:off x="3399532" y="3138703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2CE52C4-1ACD-4BB3-9B52-C77B9F58DAF4}"/>
              </a:ext>
            </a:extLst>
          </p:cNvPr>
          <p:cNvSpPr/>
          <p:nvPr/>
        </p:nvSpPr>
        <p:spPr bwMode="auto">
          <a:xfrm>
            <a:off x="3389979" y="361122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07BD3E0-A29B-4A0B-B188-D6FF779D45C8}"/>
              </a:ext>
            </a:extLst>
          </p:cNvPr>
          <p:cNvSpPr/>
          <p:nvPr/>
        </p:nvSpPr>
        <p:spPr bwMode="auto">
          <a:xfrm>
            <a:off x="5618326" y="285372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CB86443-8C37-4DC0-AD22-6217F79ADDBB}"/>
              </a:ext>
            </a:extLst>
          </p:cNvPr>
          <p:cNvSpPr/>
          <p:nvPr/>
        </p:nvSpPr>
        <p:spPr bwMode="auto">
          <a:xfrm>
            <a:off x="5618326" y="330368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9DE8271-28C2-4CB3-9D1D-959C0BF508E7}"/>
              </a:ext>
            </a:extLst>
          </p:cNvPr>
          <p:cNvSpPr/>
          <p:nvPr/>
        </p:nvSpPr>
        <p:spPr bwMode="auto">
          <a:xfrm>
            <a:off x="5618326" y="260017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54953AD-19DA-4039-B654-5C3D0F55E1E7}"/>
              </a:ext>
            </a:extLst>
          </p:cNvPr>
          <p:cNvSpPr/>
          <p:nvPr/>
        </p:nvSpPr>
        <p:spPr bwMode="auto">
          <a:xfrm>
            <a:off x="10031988" y="273280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ADF94B4-A07E-436F-ADA8-182D81F14757}"/>
              </a:ext>
            </a:extLst>
          </p:cNvPr>
          <p:cNvSpPr/>
          <p:nvPr/>
        </p:nvSpPr>
        <p:spPr bwMode="auto">
          <a:xfrm>
            <a:off x="10031988" y="342530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37587C-A541-462A-BE76-ABECC923A42F}"/>
              </a:ext>
            </a:extLst>
          </p:cNvPr>
          <p:cNvSpPr/>
          <p:nvPr/>
        </p:nvSpPr>
        <p:spPr bwMode="auto">
          <a:xfrm>
            <a:off x="7784982" y="314351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7DA6051-6FAD-4E50-9798-2E9E7C88E0A7}"/>
              </a:ext>
            </a:extLst>
          </p:cNvPr>
          <p:cNvSpPr/>
          <p:nvPr/>
        </p:nvSpPr>
        <p:spPr bwMode="auto">
          <a:xfrm>
            <a:off x="7784982" y="276873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856FF6D-CABE-4AAA-8B3F-87D8BB0DF791}"/>
              </a:ext>
            </a:extLst>
          </p:cNvPr>
          <p:cNvSpPr/>
          <p:nvPr/>
        </p:nvSpPr>
        <p:spPr bwMode="auto">
          <a:xfrm>
            <a:off x="7784982" y="3461236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31664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f efficacy is not compromis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ed for more safe treatment options that do not compromise on efficac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cus on unmet needs from a patient perspective – less from an HCP perspectiv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 o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impac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Implementation Guid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earn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ublished literature (cost of lack of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t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eachJAKSta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yMentum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drop materia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fficacy, give opportunity to try – make it easy, but they will be interes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incl safety, ref trusted peers/colleagues and hands on experienc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ow availabl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oA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: selectivity (vs 1G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rehensive clinical evidence : 3 CT and long term data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rength of balance story : full strength with safety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 (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ps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 / to be localised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etail Aid…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inch vide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vailable publica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(refer to channel preference to maximize interactions by segment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Portal (pending country site map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inforce experience, share additional data freely, seed need to share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 trial and follow up re experience and expansion of tria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hare/encourage patient feedback, patient perspectives, PIO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vide opportunities to share experience and discuss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patient types as experience is gained – give different ‘peg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 opportunities – keeping in mind loyalty can prob not be expec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to lead to JAK of choice ‘peg’]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t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feedback to lead to JAK of choice ‘peg’ and 1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ship opportun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- To be Discus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722127" y="6418504"/>
            <a:ext cx="4042162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ummary of Workshop Discussion (2 of 2)</a:t>
            </a: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76904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47813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47813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47813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75267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50420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76904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76904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52057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87652" y="543273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5182" y="557545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78436" y="531942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75899" y="543981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haviour: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Uses 1</a:t>
            </a: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line in bio-naive</a:t>
            </a:r>
            <a:r>
              <a:rPr lang="en-GB" sz="800" kern="0" noProof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Uses JYSELECA  as their advanced treatment of choice</a:t>
            </a:r>
          </a:p>
          <a:p>
            <a:pPr marL="116413" marR="0" lvl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Belief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: JYSELECA’s efficacy, safety and convenience data is comprehensive and differentiating</a:t>
            </a:r>
            <a:r>
              <a:rPr lang="en-GB" sz="800" kern="0" dirty="0">
                <a:solidFill>
                  <a:srgbClr val="717471">
                    <a:lumMod val="75000"/>
                  </a:srgbClr>
                </a:solidFill>
                <a:latin typeface="Tahoma"/>
                <a:cs typeface="Arial" panose="020B0604020202020204" pitchFamily="34" charset="0"/>
              </a:rPr>
              <a:t>.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I will identify candidates to trial first lin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35539" y="593933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85130" y="546020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Behaviour: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JAK inhibitors n 2nd/3rd line in a flexible approach. Persists within the same 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tx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clas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Belief: 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Flexible approach is optimal</a:t>
            </a:r>
            <a:r>
              <a:rPr lang="en-GB" sz="800" kern="0" noProof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. </a:t>
            </a:r>
            <a:r>
              <a:rPr lang="en-GB" sz="800" kern="0" dirty="0">
                <a:solidFill>
                  <a:srgbClr val="DEB3A8">
                    <a:lumMod val="50000"/>
                  </a:srgbClr>
                </a:solidFill>
                <a:latin typeface="Tahoma"/>
                <a:ea typeface="Helvetica Neue Light"/>
                <a:cs typeface="Arial" panose="020B0604020202020204" pitchFamily="34" charset="0"/>
              </a:rPr>
              <a:t>M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cosal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 healing &amp; long-term remission are key treatment goal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113756" y="64199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41746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372844" y="1216522"/>
            <a:ext cx="18965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r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57343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JYSELEC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5747421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Us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7988007" y="1216522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2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d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178689" y="1200433"/>
            <a:ext cx="188500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se 1</a:t>
            </a:r>
            <a:r>
              <a:rPr kumimoji="0" lang="en-GB" sz="1100" b="1" i="0" u="none" strike="noStrike" kern="1200" cap="none" spc="0" normalizeH="0" baseline="3000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line in bio-naive 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54980" y="523917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9000">
                <a:srgbClr val="F7F2F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55E9FF88-FCBE-4A56-8CCD-B1876A44B3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7812" y="19923"/>
            <a:ext cx="516013" cy="51601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E1982E0-5617-42C0-9E61-8C3AFFAEEEAA}"/>
              </a:ext>
            </a:extLst>
          </p:cNvPr>
          <p:cNvSpPr/>
          <p:nvPr/>
        </p:nvSpPr>
        <p:spPr>
          <a:xfrm>
            <a:off x="10797537" y="84014"/>
            <a:ext cx="647160" cy="38782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505">
              <a:defRPr/>
            </a:pPr>
            <a:r>
              <a:rPr lang="en-GB" sz="798" b="1">
                <a:solidFill>
                  <a:srgbClr val="F58800"/>
                </a:solidFill>
                <a:latin typeface="Arial" panose="020B0604020202020204"/>
              </a:rPr>
              <a:t>SCIENCE FIRS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ABCABD3-247A-4F34-9090-883DA84BF9F3}"/>
              </a:ext>
            </a:extLst>
          </p:cNvPr>
          <p:cNvSpPr/>
          <p:nvPr/>
        </p:nvSpPr>
        <p:spPr>
          <a:xfrm>
            <a:off x="10366694" y="5323561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560B538-214D-448D-80F7-DD92DD067E18}"/>
              </a:ext>
            </a:extLst>
          </p:cNvPr>
          <p:cNvCxnSpPr/>
          <p:nvPr/>
        </p:nvCxnSpPr>
        <p:spPr bwMode="auto">
          <a:xfrm>
            <a:off x="0" y="1946288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904A6545-B20E-4008-9257-D185B5FAFD39}"/>
              </a:ext>
            </a:extLst>
          </p:cNvPr>
          <p:cNvSpPr txBox="1"/>
          <p:nvPr/>
        </p:nvSpPr>
        <p:spPr>
          <a:xfrm>
            <a:off x="246429" y="21715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BB37FE4-1546-41D4-B29A-E7CBDABC6ECF}"/>
              </a:ext>
            </a:extLst>
          </p:cNvPr>
          <p:cNvSpPr txBox="1"/>
          <p:nvPr/>
        </p:nvSpPr>
        <p:spPr>
          <a:xfrm>
            <a:off x="0" y="4756516"/>
            <a:ext cx="2745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/Channel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3E3D297-1E5F-471F-8863-69B7404A5CEC}"/>
              </a:ext>
            </a:extLst>
          </p:cNvPr>
          <p:cNvSpPr/>
          <p:nvPr/>
        </p:nvSpPr>
        <p:spPr bwMode="auto">
          <a:xfrm>
            <a:off x="3598283" y="2154317"/>
            <a:ext cx="1885612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fficacy Messaging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Objective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80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noProof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ocu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Arial" charset="0"/>
                <a:cs typeface="Arial" charset="0"/>
              </a:rPr>
              <a:t> on sustained remission including mucosal healing and CS-free remission</a:t>
            </a:r>
          </a:p>
          <a:p>
            <a:pPr marR="0" lvl="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tabLst/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was evaluated in bio-naïve &amp; bio-experienced patients with highly active disease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ignificant clinical and complete histologic remission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First therapy to meet ≥6-month CS-free clinical remission endpoint in a pivotal study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demonstrated significant mucosal healing at Week 58</a:t>
            </a:r>
          </a:p>
          <a:p>
            <a:pPr marL="171450" marR="0" lvl="0" indent="-171450" algn="l" defTabSz="914400" rtl="0" eaLnBrk="1" fontAlgn="auto" latinLnBrk="0" hangingPunct="1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Clr>
                <a:srgbClr val="C50F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ffective as </a:t>
            </a:r>
            <a:r>
              <a:rPr lang="en-GB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monotherapy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1A54676-A2EA-4E63-84F3-66A3D87A7194}"/>
              </a:ext>
            </a:extLst>
          </p:cNvPr>
          <p:cNvSpPr/>
          <p:nvPr/>
        </p:nvSpPr>
        <p:spPr bwMode="auto">
          <a:xfrm>
            <a:off x="5816173" y="2156146"/>
            <a:ext cx="1837643" cy="254062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afety Messaging Objective: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en-US" sz="800" kern="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Highlight new MOA, demonstrated &amp; consistent safety &amp; tolerability profile</a:t>
            </a:r>
          </a:p>
          <a:p>
            <a:pPr>
              <a:lnSpc>
                <a:spcPts val="1000"/>
              </a:lnSpc>
              <a:spcBef>
                <a:spcPts val="600"/>
              </a:spcBef>
              <a:buClr>
                <a:srgbClr val="C50F3C"/>
              </a:buClr>
              <a:defRPr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Detailed Messaging: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JYSELECA is a JAK1-preferential inhibitor with &gt;5x potency for JAK1 over other JAK isoform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Demonstrated safety and tolerability profile in UC studi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pecial interest AEs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ow rates of serious AEs similar to placebo &amp; low discontinuation rates (&lt;5%)</a:t>
            </a:r>
          </a:p>
          <a:p>
            <a:pPr marL="171450" indent="-171450">
              <a:lnSpc>
                <a:spcPts val="1000"/>
              </a:lnSpc>
              <a:spcBef>
                <a:spcPts val="200"/>
              </a:spcBef>
              <a:buClr>
                <a:srgbClr val="C50F3C"/>
              </a:buClr>
              <a:buFont typeface="Arial" panose="020B0604020202020204" pitchFamily="34" charset="0"/>
              <a:buChar char="•"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Consistent safety profile across 7 studies in RA patients with over 5400 patient years of clinical exposure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A1D597-0ACC-4422-B15A-DBE8EC5A5CAC}"/>
              </a:ext>
            </a:extLst>
          </p:cNvPr>
          <p:cNvSpPr/>
          <p:nvPr/>
        </p:nvSpPr>
        <p:spPr bwMode="auto">
          <a:xfrm>
            <a:off x="8008046" y="2152448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Convenience Messaging Objective: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Leverage the simplicity of oral ‘away from hospital’ treatment</a:t>
            </a:r>
          </a:p>
          <a:p>
            <a:pPr fontAlgn="auto">
              <a:lnSpc>
                <a:spcPts val="1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etailed Messaging: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JYSELECA is a simple once-daily 200-mg oral tablet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Same dose for induction and maintenance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Minimal monitoring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mmunogenicity and TDM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o infusions or injections</a:t>
            </a:r>
          </a:p>
          <a:p>
            <a:pPr marL="171450" indent="-171450" fontAlgn="auto">
              <a:lnSpc>
                <a:spcPts val="1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Limited need for hospital visit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D394CE0-AE47-4921-A71C-7EFD8DD27030}"/>
              </a:ext>
            </a:extLst>
          </p:cNvPr>
          <p:cNvSpPr/>
          <p:nvPr/>
        </p:nvSpPr>
        <p:spPr bwMode="auto">
          <a:xfrm>
            <a:off x="10222180" y="2163745"/>
            <a:ext cx="1837643" cy="25442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Affirm positive experiences</a:t>
            </a:r>
            <a:r>
              <a:rPr kumimoji="0" lang="en-GB" sz="800" b="1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</a:rPr>
              <a:t>with JYSELECA and support use as advanced treatment of choice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800" baseline="0" dirty="0">
                <a:solidFill>
                  <a:srgbClr val="00463E"/>
                </a:solidFill>
              </a:rPr>
              <a:t>Identify</a:t>
            </a:r>
            <a:r>
              <a:rPr lang="en-GB" sz="800" dirty="0">
                <a:solidFill>
                  <a:srgbClr val="00463E"/>
                </a:solidFill>
              </a:rPr>
              <a:t> potential advocates and influencers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463E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0BB1B5A-73CC-4810-BC64-88E09854EF12}"/>
              </a:ext>
            </a:extLst>
          </p:cNvPr>
          <p:cNvSpPr/>
          <p:nvPr/>
        </p:nvSpPr>
        <p:spPr bwMode="auto">
          <a:xfrm>
            <a:off x="3608898" y="4754756"/>
            <a:ext cx="1925930" cy="18830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efficac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RTE 1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cience 1</a:t>
            </a:r>
            <a:r>
              <a:rPr lang="en-US" sz="900" baseline="300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KOL SELECTION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E19F2DA-4449-410D-9E3C-236F04364FC6}"/>
              </a:ext>
            </a:extLst>
          </p:cNvPr>
          <p:cNvSpPr/>
          <p:nvPr/>
        </p:nvSpPr>
        <p:spPr bwMode="auto">
          <a:xfrm>
            <a:off x="5816865" y="4730792"/>
            <a:ext cx="1879442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–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/ safety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RTE 2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 JYSELECA HCP Portal </a:t>
            </a:r>
          </a:p>
          <a:p>
            <a:pPr marL="628650" lvl="1" indent="-171450" defTabSz="360000">
              <a:buClr>
                <a:srgbClr val="C50F3C"/>
              </a:buClr>
              <a:buFont typeface="Arial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cience 1</a:t>
            </a:r>
            <a:r>
              <a:rPr lang="en-US" sz="900" baseline="300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o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video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FAQ Podcasts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- exhibition booth</a:t>
            </a:r>
          </a:p>
          <a:p>
            <a:pPr marL="171450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B151B00-4CC0-44D3-B916-E5197DC7C909}"/>
              </a:ext>
            </a:extLst>
          </p:cNvPr>
          <p:cNvSpPr/>
          <p:nvPr/>
        </p:nvSpPr>
        <p:spPr bwMode="auto">
          <a:xfrm>
            <a:off x="8018662" y="4730792"/>
            <a:ext cx="1891780" cy="1895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 </a:t>
            </a:r>
            <a:r>
              <a:rPr lang="en-US" sz="900" dirty="0" err="1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DA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- convenience pages &amp; leave behin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TS - Patient brochure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mail - RTE 3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banner ad and email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a - Journal ad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Web - JYSELECA HCP portal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cience 1</a:t>
            </a:r>
            <a:r>
              <a:rPr lang="en-US" sz="900" baseline="300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st</a:t>
            </a: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 self-led DA</a:t>
            </a:r>
          </a:p>
          <a:p>
            <a:pPr marL="628650" lvl="1" indent="-171450" defTabSz="360000"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Real life patient cases</a:t>
            </a: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Conference – </a:t>
            </a:r>
            <a:r>
              <a:rPr lang="en-US" sz="90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exhibition booth</a:t>
            </a:r>
            <a:endParaRPr lang="en-US" sz="900" dirty="0">
              <a:solidFill>
                <a:srgbClr val="000000">
                  <a:lumMod val="65000"/>
                  <a:lumOff val="35000"/>
                </a:srgbClr>
              </a:solidFill>
              <a:ea typeface="Arial" charset="0"/>
              <a:cs typeface="Arial" charset="0"/>
            </a:endParaRPr>
          </a:p>
          <a:p>
            <a:pPr marL="171450" indent="-171450" defTabSz="360000" fontAlgn="auto">
              <a:spcBef>
                <a:spcPts val="0"/>
              </a:spcBef>
              <a:spcAft>
                <a:spcPts val="0"/>
              </a:spcAft>
              <a:buClr>
                <a:srgbClr val="C50F3C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65000"/>
                    <a:lumOff val="35000"/>
                  </a:srgbClr>
                </a:solidFill>
                <a:ea typeface="Arial" charset="0"/>
                <a:cs typeface="Arial" charset="0"/>
              </a:rPr>
              <a:t>Medical affairs activiti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9351415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6D7C8D0-A312-4DFF-9B5D-A2964A9FF6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75A06D-D3D8-48DD-A3A1-66F349905A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30CB55F-CD9A-4CED-AB23-CB929CAF2177}">
  <ds:schemaRefs>
    <ds:schemaRef ds:uri="http://schemas.openxmlformats.org/package/2006/metadata/core-properties"/>
    <ds:schemaRef ds:uri="http://purl.org/dc/elements/1.1/"/>
    <ds:schemaRef ds:uri="0d8c423f-ad67-45a2-8b05-97a43a5b7821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terms/"/>
    <ds:schemaRef ds:uri="ead0e857-dec6-4b1e-afd3-48dbfac7dd48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848</TotalTime>
  <Words>5295</Words>
  <Application>Microsoft Office PowerPoint</Application>
  <PresentationFormat>Widescreen</PresentationFormat>
  <Paragraphs>748</Paragraphs>
  <Slides>12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Tahoma</vt:lpstr>
      <vt:lpstr>Times</vt:lpstr>
      <vt:lpstr>Wingdings</vt:lpstr>
      <vt:lpstr>Galapagos_template_Basic</vt:lpstr>
      <vt:lpstr>think-cell Slide</vt:lpstr>
      <vt:lpstr>IBD Adoption Ladder Template</vt:lpstr>
      <vt:lpstr>PowerPoint Presentation</vt:lpstr>
      <vt:lpstr>PowerPoint Presentation</vt:lpstr>
      <vt:lpstr>PowerPoint Presentation</vt:lpstr>
      <vt:lpstr>Asset Overview by Segment</vt:lpstr>
      <vt:lpstr>Appendix: RA Examp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doption Ladder – summarized objectives by seg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Alexander Richwood</cp:lastModifiedBy>
  <cp:revision>15</cp:revision>
  <dcterms:created xsi:type="dcterms:W3CDTF">2021-03-30T17:37:20Z</dcterms:created>
  <dcterms:modified xsi:type="dcterms:W3CDTF">2021-05-03T07:0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